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7"/>
  </p:notesMasterIdLst>
  <p:handoutMasterIdLst>
    <p:handoutMasterId r:id="rId8"/>
  </p:handoutMasterIdLst>
  <p:sldIdLst>
    <p:sldId id="1049" r:id="rId6"/>
  </p:sldIdLst>
  <p:sldSz cx="12192000" cy="6858000"/>
  <p:notesSz cx="6858000" cy="9144000"/>
  <p:embeddedFontLst>
    <p:embeddedFont>
      <p:font typeface="Ubuntu" panose="020B0504030602030204" pitchFamily="34" charset="0"/>
      <p:regular r:id="rId9"/>
      <p:bold r:id="rId10"/>
      <p:italic r:id="rId11"/>
      <p:boldItalic r:id="rId12"/>
    </p:embeddedFont>
    <p:embeddedFont>
      <p:font typeface="Ubuntu Light" panose="020B0304030602030204" pitchFamily="34" charset="0"/>
      <p:regular r:id="rId13"/>
      <p:italic r:id="rId14"/>
    </p:embeddedFont>
    <p:embeddedFont>
      <p:font typeface="Ubuntu Medium" panose="020B0604030602030204" pitchFamily="34" charset="0"/>
      <p:regular r:id="rId15"/>
      <p:italic r:id="rId16"/>
    </p:embeddedFont>
    <p:embeddedFont>
      <p:font typeface="Verdana" panose="020B0604030504040204" pitchFamily="34" charset="0"/>
      <p:regular r:id="rId17"/>
      <p:bold r:id="rId18"/>
      <p:italic r:id="rId19"/>
      <p:boldItalic r:id="rId20"/>
    </p:embeddedFont>
  </p:embeddedFontLst>
  <p:custDataLst>
    <p:tags r:id="rId2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Example template" id="{B7DB9C3F-7E74-4F52-9D70-F13B223DAE78}">
          <p14:sldIdLst>
            <p14:sldId id="1049"/>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ECEC"/>
    <a:srgbClr val="214554"/>
    <a:srgbClr val="338091"/>
    <a:srgbClr val="00E0CB"/>
    <a:srgbClr val="A6A6A6"/>
    <a:srgbClr val="2B0A3D"/>
    <a:srgbClr val="000000"/>
    <a:srgbClr val="FFDA80"/>
    <a:srgbClr val="57CF80"/>
    <a:srgbClr val="12AB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395B68-68C1-6DF4-06E3-4EC20842CA88}" v="109" dt="2025-07-30T06:18:33.226"/>
    <p1510:client id="{1D8091B9-5A0C-2693-F600-D7B95BF9BC73}" v="174" dt="2025-07-30T06:42:33.973"/>
    <p1510:client id="{9A783DE3-3552-F684-B4C7-6893881A06F3}" v="6" dt="2025-07-30T06:51:35.899"/>
    <p1510:client id="{A1DB8982-7A95-46B7-BA31-EC3FD26F77D2}" v="170" dt="2025-07-30T06:48:12.3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7" d="100"/>
          <a:sy n="67" d="100"/>
        </p:scale>
        <p:origin x="92" y="32"/>
      </p:cViewPr>
      <p:guideLst>
        <p:guide orient="horz" pos="2341"/>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font" Target="fonts/font5.fntdata"/><Relationship Id="rId18" Type="http://schemas.openxmlformats.org/officeDocument/2006/relationships/font" Target="fonts/font10.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notesMaster" Target="notesMasters/notesMaster1.xml"/><Relationship Id="rId12" Type="http://schemas.openxmlformats.org/officeDocument/2006/relationships/font" Target="fonts/font4.fntdata"/><Relationship Id="rId17" Type="http://schemas.openxmlformats.org/officeDocument/2006/relationships/font" Target="fonts/font9.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8.fntdata"/><Relationship Id="rId20"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3.fntdata"/><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font" Target="fonts/font7.fntdata"/><Relationship Id="rId23" Type="http://schemas.openxmlformats.org/officeDocument/2006/relationships/viewProps" Target="viewProps.xml"/><Relationship Id="rId10" Type="http://schemas.openxmlformats.org/officeDocument/2006/relationships/font" Target="fonts/font2.fntdata"/><Relationship Id="rId19"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font" Target="fonts/font1.fntdata"/><Relationship Id="rId14" Type="http://schemas.openxmlformats.org/officeDocument/2006/relationships/font" Target="fonts/font6.fntdata"/><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ndwar, Rohit" userId="S::rohit.a.indwar@capgemini.com::b8a372f9-abef-41db-88b0-c1a21f4fdc12" providerId="AD" clId="Web-{1D8091B9-5A0C-2693-F600-D7B95BF9BC73}"/>
    <pc:docChg chg="modSld">
      <pc:chgData name="Indwar, Rohit" userId="S::rohit.a.indwar@capgemini.com::b8a372f9-abef-41db-88b0-c1a21f4fdc12" providerId="AD" clId="Web-{1D8091B9-5A0C-2693-F600-D7B95BF9BC73}" dt="2025-07-30T06:42:33.973" v="160" actId="20577"/>
      <pc:docMkLst>
        <pc:docMk/>
      </pc:docMkLst>
      <pc:sldChg chg="modSp">
        <pc:chgData name="Indwar, Rohit" userId="S::rohit.a.indwar@capgemini.com::b8a372f9-abef-41db-88b0-c1a21f4fdc12" providerId="AD" clId="Web-{1D8091B9-5A0C-2693-F600-D7B95BF9BC73}" dt="2025-07-30T06:36:46.601" v="4" actId="20577"/>
        <pc:sldMkLst>
          <pc:docMk/>
          <pc:sldMk cId="203152348" sldId="1049"/>
        </pc:sldMkLst>
        <pc:spChg chg="mod">
          <ac:chgData name="Indwar, Rohit" userId="S::rohit.a.indwar@capgemini.com::b8a372f9-abef-41db-88b0-c1a21f4fdc12" providerId="AD" clId="Web-{1D8091B9-5A0C-2693-F600-D7B95BF9BC73}" dt="2025-07-30T06:36:46.601" v="4" actId="20577"/>
          <ac:spMkLst>
            <pc:docMk/>
            <pc:sldMk cId="203152348" sldId="1049"/>
            <ac:spMk id="7178" creationId="{3959C7F9-3FBF-4100-BACD-7A75D3D2E90B}"/>
          </ac:spMkLst>
        </pc:spChg>
      </pc:sldChg>
      <pc:sldChg chg="addSp delSp modSp">
        <pc:chgData name="Indwar, Rohit" userId="S::rohit.a.indwar@capgemini.com::b8a372f9-abef-41db-88b0-c1a21f4fdc12" providerId="AD" clId="Web-{1D8091B9-5A0C-2693-F600-D7B95BF9BC73}" dt="2025-07-30T06:42:33.973" v="160" actId="20577"/>
        <pc:sldMkLst>
          <pc:docMk/>
          <pc:sldMk cId="3622275861" sldId="1989"/>
        </pc:sldMkLst>
        <pc:spChg chg="mod">
          <ac:chgData name="Indwar, Rohit" userId="S::rohit.a.indwar@capgemini.com::b8a372f9-abef-41db-88b0-c1a21f4fdc12" providerId="AD" clId="Web-{1D8091B9-5A0C-2693-F600-D7B95BF9BC73}" dt="2025-07-30T06:40:23.062" v="126" actId="20577"/>
          <ac:spMkLst>
            <pc:docMk/>
            <pc:sldMk cId="3622275861" sldId="1989"/>
            <ac:spMk id="4" creationId="{23CD8A45-49B6-AE24-0065-C623B25CAB04}"/>
          </ac:spMkLst>
        </pc:spChg>
        <pc:spChg chg="add del mod">
          <ac:chgData name="Indwar, Rohit" userId="S::rohit.a.indwar@capgemini.com::b8a372f9-abef-41db-88b0-c1a21f4fdc12" providerId="AD" clId="Web-{1D8091B9-5A0C-2693-F600-D7B95BF9BC73}" dt="2025-07-30T06:41:24.408" v="136"/>
          <ac:spMkLst>
            <pc:docMk/>
            <pc:sldMk cId="3622275861" sldId="1989"/>
            <ac:spMk id="8" creationId="{5BBF30CD-E6A1-0595-68DC-7CBB08CBEBA4}"/>
          </ac:spMkLst>
        </pc:spChg>
        <pc:spChg chg="add del mod">
          <ac:chgData name="Indwar, Rohit" userId="S::rohit.a.indwar@capgemini.com::b8a372f9-abef-41db-88b0-c1a21f4fdc12" providerId="AD" clId="Web-{1D8091B9-5A0C-2693-F600-D7B95BF9BC73}" dt="2025-07-30T06:41:31.330" v="140"/>
          <ac:spMkLst>
            <pc:docMk/>
            <pc:sldMk cId="3622275861" sldId="1989"/>
            <ac:spMk id="10" creationId="{ABF398E1-9A87-AFDF-5DDE-0926B5182E5B}"/>
          </ac:spMkLst>
        </pc:spChg>
        <pc:spChg chg="add del mod">
          <ac:chgData name="Indwar, Rohit" userId="S::rohit.a.indwar@capgemini.com::b8a372f9-abef-41db-88b0-c1a21f4fdc12" providerId="AD" clId="Web-{1D8091B9-5A0C-2693-F600-D7B95BF9BC73}" dt="2025-07-30T06:41:41.831" v="145" actId="20577"/>
          <ac:spMkLst>
            <pc:docMk/>
            <pc:sldMk cId="3622275861" sldId="1989"/>
            <ac:spMk id="7171" creationId="{FF4CCF3B-4887-442F-A757-E5908FA1808D}"/>
          </ac:spMkLst>
        </pc:spChg>
        <pc:spChg chg="mod">
          <ac:chgData name="Indwar, Rohit" userId="S::rohit.a.indwar@capgemini.com::b8a372f9-abef-41db-88b0-c1a21f4fdc12" providerId="AD" clId="Web-{1D8091B9-5A0C-2693-F600-D7B95BF9BC73}" dt="2025-07-30T06:37:33.040" v="30" actId="20577"/>
          <ac:spMkLst>
            <pc:docMk/>
            <pc:sldMk cId="3622275861" sldId="1989"/>
            <ac:spMk id="7172" creationId="{994FC039-D8C9-4401-93CE-88467263C848}"/>
          </ac:spMkLst>
        </pc:spChg>
        <pc:spChg chg="mod">
          <ac:chgData name="Indwar, Rohit" userId="S::rohit.a.indwar@capgemini.com::b8a372f9-abef-41db-88b0-c1a21f4fdc12" providerId="AD" clId="Web-{1D8091B9-5A0C-2693-F600-D7B95BF9BC73}" dt="2025-07-30T06:40:28.093" v="131" actId="20577"/>
          <ac:spMkLst>
            <pc:docMk/>
            <pc:sldMk cId="3622275861" sldId="1989"/>
            <ac:spMk id="7173" creationId="{0DF2099D-8FC2-44CE-AB60-E2C2257CB05D}"/>
          </ac:spMkLst>
        </pc:spChg>
        <pc:spChg chg="mod">
          <ac:chgData name="Indwar, Rohit" userId="S::rohit.a.indwar@capgemini.com::b8a372f9-abef-41db-88b0-c1a21f4fdc12" providerId="AD" clId="Web-{1D8091B9-5A0C-2693-F600-D7B95BF9BC73}" dt="2025-07-30T06:40:21.577" v="121" actId="20577"/>
          <ac:spMkLst>
            <pc:docMk/>
            <pc:sldMk cId="3622275861" sldId="1989"/>
            <ac:spMk id="7175" creationId="{BADEA8C0-D1A3-4608-9E63-683339DCC944}"/>
          </ac:spMkLst>
        </pc:spChg>
        <pc:spChg chg="mod">
          <ac:chgData name="Indwar, Rohit" userId="S::rohit.a.indwar@capgemini.com::b8a372f9-abef-41db-88b0-c1a21f4fdc12" providerId="AD" clId="Web-{1D8091B9-5A0C-2693-F600-D7B95BF9BC73}" dt="2025-07-30T06:42:33.973" v="160" actId="20577"/>
          <ac:spMkLst>
            <pc:docMk/>
            <pc:sldMk cId="3622275861" sldId="1989"/>
            <ac:spMk id="7178" creationId="{3959C7F9-3FBF-4100-BACD-7A75D3D2E90B}"/>
          </ac:spMkLst>
        </pc:spChg>
        <pc:spChg chg="mod">
          <ac:chgData name="Indwar, Rohit" userId="S::rohit.a.indwar@capgemini.com::b8a372f9-abef-41db-88b0-c1a21f4fdc12" providerId="AD" clId="Web-{1D8091B9-5A0C-2693-F600-D7B95BF9BC73}" dt="2025-07-30T06:40:22.187" v="123" actId="20577"/>
          <ac:spMkLst>
            <pc:docMk/>
            <pc:sldMk cId="3622275861" sldId="1989"/>
            <ac:spMk id="7183" creationId="{B8C26D43-3971-4B32-9403-96D3E3AC5656}"/>
          </ac:spMkLst>
        </pc:spChg>
        <pc:picChg chg="del">
          <ac:chgData name="Indwar, Rohit" userId="S::rohit.a.indwar@capgemini.com::b8a372f9-abef-41db-88b0-c1a21f4fdc12" providerId="AD" clId="Web-{1D8091B9-5A0C-2693-F600-D7B95BF9BC73}" dt="2025-07-30T06:36:56.429" v="13"/>
          <ac:picMkLst>
            <pc:docMk/>
            <pc:sldMk cId="3622275861" sldId="1989"/>
            <ac:picMk id="20" creationId="{2F341940-940A-4108-B9F3-71E78C14724A}"/>
          </ac:picMkLst>
        </pc:picChg>
      </pc:sldChg>
    </pc:docChg>
  </pc:docChgLst>
  <pc:docChgLst>
    <pc:chgData name="Indwar, Rohit" userId="S::rohit.a.indwar@capgemini.com::b8a372f9-abef-41db-88b0-c1a21f4fdc12" providerId="AD" clId="Web-{9A783DE3-3552-F684-B4C7-6893881A06F3}"/>
    <pc:docChg chg="modSld">
      <pc:chgData name="Indwar, Rohit" userId="S::rohit.a.indwar@capgemini.com::b8a372f9-abef-41db-88b0-c1a21f4fdc12" providerId="AD" clId="Web-{9A783DE3-3552-F684-B4C7-6893881A06F3}" dt="2025-07-30T06:51:35.899" v="4" actId="20577"/>
      <pc:docMkLst>
        <pc:docMk/>
      </pc:docMkLst>
      <pc:sldChg chg="modSp">
        <pc:chgData name="Indwar, Rohit" userId="S::rohit.a.indwar@capgemini.com::b8a372f9-abef-41db-88b0-c1a21f4fdc12" providerId="AD" clId="Web-{9A783DE3-3552-F684-B4C7-6893881A06F3}" dt="2025-07-30T06:51:35.899" v="4" actId="20577"/>
        <pc:sldMkLst>
          <pc:docMk/>
          <pc:sldMk cId="203152348" sldId="1049"/>
        </pc:sldMkLst>
        <pc:spChg chg="mod">
          <ac:chgData name="Indwar, Rohit" userId="S::rohit.a.indwar@capgemini.com::b8a372f9-abef-41db-88b0-c1a21f4fdc12" providerId="AD" clId="Web-{9A783DE3-3552-F684-B4C7-6893881A06F3}" dt="2025-07-30T06:51:35.899" v="4" actId="20577"/>
          <ac:spMkLst>
            <pc:docMk/>
            <pc:sldMk cId="203152348" sldId="1049"/>
            <ac:spMk id="7178" creationId="{3959C7F9-3FBF-4100-BACD-7A75D3D2E90B}"/>
          </ac:spMkLst>
        </pc:spChg>
      </pc:sldChg>
    </pc:docChg>
  </pc:docChgLst>
  <pc:docChgLst>
    <pc:chgData name="Indwar, Rohit" userId="b8a372f9-abef-41db-88b0-c1a21f4fdc12" providerId="ADAL" clId="{A1DB8982-7A95-46B7-BA31-EC3FD26F77D2}"/>
    <pc:docChg chg="undo custSel modSld">
      <pc:chgData name="Indwar, Rohit" userId="b8a372f9-abef-41db-88b0-c1a21f4fdc12" providerId="ADAL" clId="{A1DB8982-7A95-46B7-BA31-EC3FD26F77D2}" dt="2025-07-30T06:48:12.340" v="169" actId="20577"/>
      <pc:docMkLst>
        <pc:docMk/>
      </pc:docMkLst>
      <pc:sldChg chg="addSp modSp mod">
        <pc:chgData name="Indwar, Rohit" userId="b8a372f9-abef-41db-88b0-c1a21f4fdc12" providerId="ADAL" clId="{A1DB8982-7A95-46B7-BA31-EC3FD26F77D2}" dt="2025-07-30T06:48:12.340" v="169" actId="20577"/>
        <pc:sldMkLst>
          <pc:docMk/>
          <pc:sldMk cId="3622275861" sldId="1989"/>
        </pc:sldMkLst>
        <pc:spChg chg="add mod">
          <ac:chgData name="Indwar, Rohit" userId="b8a372f9-abef-41db-88b0-c1a21f4fdc12" providerId="ADAL" clId="{A1DB8982-7A95-46B7-BA31-EC3FD26F77D2}" dt="2025-07-30T06:44:58.524" v="53" actId="571"/>
          <ac:spMkLst>
            <pc:docMk/>
            <pc:sldMk cId="3622275861" sldId="1989"/>
            <ac:spMk id="3" creationId="{CC5B6B95-0C54-AAB6-C7B4-5283467FC2E5}"/>
          </ac:spMkLst>
        </pc:spChg>
        <pc:spChg chg="mod">
          <ac:chgData name="Indwar, Rohit" userId="b8a372f9-abef-41db-88b0-c1a21f4fdc12" providerId="ADAL" clId="{A1DB8982-7A95-46B7-BA31-EC3FD26F77D2}" dt="2025-07-30T06:48:05.243" v="148" actId="20577"/>
          <ac:spMkLst>
            <pc:docMk/>
            <pc:sldMk cId="3622275861" sldId="1989"/>
            <ac:spMk id="4" creationId="{23CD8A45-49B6-AE24-0065-C623B25CAB04}"/>
          </ac:spMkLst>
        </pc:spChg>
        <pc:spChg chg="mod">
          <ac:chgData name="Indwar, Rohit" userId="b8a372f9-abef-41db-88b0-c1a21f4fdc12" providerId="ADAL" clId="{A1DB8982-7A95-46B7-BA31-EC3FD26F77D2}" dt="2025-07-30T06:48:06.081" v="153" actId="20577"/>
          <ac:spMkLst>
            <pc:docMk/>
            <pc:sldMk cId="3622275861" sldId="1989"/>
            <ac:spMk id="7171" creationId="{FF4CCF3B-4887-442F-A757-E5908FA1808D}"/>
          </ac:spMkLst>
        </pc:spChg>
        <pc:spChg chg="mod">
          <ac:chgData name="Indwar, Rohit" userId="b8a372f9-abef-41db-88b0-c1a21f4fdc12" providerId="ADAL" clId="{A1DB8982-7A95-46B7-BA31-EC3FD26F77D2}" dt="2025-07-30T06:48:04.052" v="142" actId="20577"/>
          <ac:spMkLst>
            <pc:docMk/>
            <pc:sldMk cId="3622275861" sldId="1989"/>
            <ac:spMk id="7172" creationId="{994FC039-D8C9-4401-93CE-88467263C848}"/>
          </ac:spMkLst>
        </pc:spChg>
        <pc:spChg chg="mod">
          <ac:chgData name="Indwar, Rohit" userId="b8a372f9-abef-41db-88b0-c1a21f4fdc12" providerId="ADAL" clId="{A1DB8982-7A95-46B7-BA31-EC3FD26F77D2}" dt="2025-07-30T06:48:05.926" v="152" actId="20577"/>
          <ac:spMkLst>
            <pc:docMk/>
            <pc:sldMk cId="3622275861" sldId="1989"/>
            <ac:spMk id="7173" creationId="{0DF2099D-8FC2-44CE-AB60-E2C2257CB05D}"/>
          </ac:spMkLst>
        </pc:spChg>
        <pc:spChg chg="mod">
          <ac:chgData name="Indwar, Rohit" userId="b8a372f9-abef-41db-88b0-c1a21f4fdc12" providerId="ADAL" clId="{A1DB8982-7A95-46B7-BA31-EC3FD26F77D2}" dt="2025-07-30T06:48:02.805" v="136" actId="20577"/>
          <ac:spMkLst>
            <pc:docMk/>
            <pc:sldMk cId="3622275861" sldId="1989"/>
            <ac:spMk id="7175" creationId="{BADEA8C0-D1A3-4608-9E63-683339DCC944}"/>
          </ac:spMkLst>
        </pc:spChg>
        <pc:spChg chg="mod">
          <ac:chgData name="Indwar, Rohit" userId="b8a372f9-abef-41db-88b0-c1a21f4fdc12" providerId="ADAL" clId="{A1DB8982-7A95-46B7-BA31-EC3FD26F77D2}" dt="2025-07-30T06:48:12.340" v="169" actId="20577"/>
          <ac:spMkLst>
            <pc:docMk/>
            <pc:sldMk cId="3622275861" sldId="1989"/>
            <ac:spMk id="7178" creationId="{3959C7F9-3FBF-4100-BACD-7A75D3D2E90B}"/>
          </ac:spMkLst>
        </pc:spChg>
        <pc:spChg chg="mod">
          <ac:chgData name="Indwar, Rohit" userId="b8a372f9-abef-41db-88b0-c1a21f4fdc12" providerId="ADAL" clId="{A1DB8982-7A95-46B7-BA31-EC3FD26F77D2}" dt="2025-07-30T06:48:04.393" v="144" actId="1076"/>
          <ac:spMkLst>
            <pc:docMk/>
            <pc:sldMk cId="3622275861" sldId="1989"/>
            <ac:spMk id="7183" creationId="{B8C26D43-3971-4B32-9403-96D3E3AC5656}"/>
          </ac:spMkLst>
        </pc:spChg>
      </pc:sldChg>
    </pc:docChg>
  </pc:docChgLst>
  <pc:docChgLst>
    <pc:chgData clId="Web-{9A783DE3-3552-F684-B4C7-6893881A06F3}"/>
    <pc:docChg chg="modSld">
      <pc:chgData name="" userId="" providerId="" clId="Web-{9A783DE3-3552-F684-B4C7-6893881A06F3}" dt="2025-07-30T06:51:30.571" v="0" actId="20577"/>
      <pc:docMkLst>
        <pc:docMk/>
      </pc:docMkLst>
      <pc:sldChg chg="modSp">
        <pc:chgData name="" userId="" providerId="" clId="Web-{9A783DE3-3552-F684-B4C7-6893881A06F3}" dt="2025-07-30T06:51:30.571" v="0" actId="20577"/>
        <pc:sldMkLst>
          <pc:docMk/>
          <pc:sldMk cId="203152348" sldId="1049"/>
        </pc:sldMkLst>
        <pc:spChg chg="mod">
          <ac:chgData name="" userId="" providerId="" clId="Web-{9A783DE3-3552-F684-B4C7-6893881A06F3}" dt="2025-07-30T06:51:30.571" v="0" actId="20577"/>
          <ac:spMkLst>
            <pc:docMk/>
            <pc:sldMk cId="203152348" sldId="1049"/>
            <ac:spMk id="7178" creationId="{3959C7F9-3FBF-4100-BACD-7A75D3D2E90B}"/>
          </ac:spMkLst>
        </pc:spChg>
      </pc:sldChg>
    </pc:docChg>
  </pc:docChgLst>
  <pc:docChgLst>
    <pc:chgData name="-, Y Lohitha" userId="S::y-lohitha.a.y-lohitha@capgemini.com::b7878d4a-63f4-48a4-85b8-f68ccaffee35" providerId="AD" clId="Web-{0D395B68-68C1-6DF4-06E3-4EC20842CA88}"/>
    <pc:docChg chg="modSld">
      <pc:chgData name="-, Y Lohitha" userId="S::y-lohitha.a.y-lohitha@capgemini.com::b7878d4a-63f4-48a4-85b8-f68ccaffee35" providerId="AD" clId="Web-{0D395B68-68C1-6DF4-06E3-4EC20842CA88}" dt="2025-07-30T06:18:33.226" v="107" actId="20577"/>
      <pc:docMkLst>
        <pc:docMk/>
      </pc:docMkLst>
      <pc:sldChg chg="addSp delSp modSp">
        <pc:chgData name="-, Y Lohitha" userId="S::y-lohitha.a.y-lohitha@capgemini.com::b7878d4a-63f4-48a4-85b8-f68ccaffee35" providerId="AD" clId="Web-{0D395B68-68C1-6DF4-06E3-4EC20842CA88}" dt="2025-07-30T06:18:33.226" v="107" actId="20577"/>
        <pc:sldMkLst>
          <pc:docMk/>
          <pc:sldMk cId="3622275861" sldId="1989"/>
        </pc:sldMkLst>
        <pc:spChg chg="add mod">
          <ac:chgData name="-, Y Lohitha" userId="S::y-lohitha.a.y-lohitha@capgemini.com::b7878d4a-63f4-48a4-85b8-f68ccaffee35" providerId="AD" clId="Web-{0D395B68-68C1-6DF4-06E3-4EC20842CA88}" dt="2025-07-30T06:18:33.226" v="107" actId="20577"/>
          <ac:spMkLst>
            <pc:docMk/>
            <pc:sldMk cId="3622275861" sldId="1989"/>
            <ac:spMk id="4" creationId="{23CD8A45-49B6-AE24-0065-C623B25CAB04}"/>
          </ac:spMkLst>
        </pc:spChg>
        <pc:spChg chg="mod">
          <ac:chgData name="-, Y Lohitha" userId="S::y-lohitha.a.y-lohitha@capgemini.com::b7878d4a-63f4-48a4-85b8-f68ccaffee35" providerId="AD" clId="Web-{0D395B68-68C1-6DF4-06E3-4EC20842CA88}" dt="2025-07-30T06:17:58.569" v="101" actId="20577"/>
          <ac:spMkLst>
            <pc:docMk/>
            <pc:sldMk cId="3622275861" sldId="1989"/>
            <ac:spMk id="7173" creationId="{0DF2099D-8FC2-44CE-AB60-E2C2257CB05D}"/>
          </ac:spMkLst>
        </pc:spChg>
        <pc:spChg chg="del">
          <ac:chgData name="-, Y Lohitha" userId="S::y-lohitha.a.y-lohitha@capgemini.com::b7878d4a-63f4-48a4-85b8-f68ccaffee35" providerId="AD" clId="Web-{0D395B68-68C1-6DF4-06E3-4EC20842CA88}" dt="2025-07-30T06:15:22.469" v="70"/>
          <ac:spMkLst>
            <pc:docMk/>
            <pc:sldMk cId="3622275861" sldId="1989"/>
            <ac:spMk id="7174" creationId="{8B11FF61-9AA9-42E0-800D-B94AC06E095E}"/>
          </ac:spMkLst>
        </pc:spChg>
        <pc:spChg chg="mod">
          <ac:chgData name="-, Y Lohitha" userId="S::y-lohitha.a.y-lohitha@capgemini.com::b7878d4a-63f4-48a4-85b8-f68ccaffee35" providerId="AD" clId="Web-{0D395B68-68C1-6DF4-06E3-4EC20842CA88}" dt="2025-07-30T06:18:25.585" v="102" actId="14100"/>
          <ac:spMkLst>
            <pc:docMk/>
            <pc:sldMk cId="3622275861" sldId="1989"/>
            <ac:spMk id="7183" creationId="{B8C26D43-3971-4B32-9403-96D3E3AC5656}"/>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1/07/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1/07/2025</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7.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3"/>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grpSp>
        <p:nvGrpSpPr>
          <p:cNvPr id="7" name="Group 6">
            <a:extLst>
              <a:ext uri="{FF2B5EF4-FFF2-40B4-BE49-F238E27FC236}">
                <a16:creationId xmlns:a16="http://schemas.microsoft.com/office/drawing/2014/main" id="{9A1B23CB-054C-4CEB-8C01-3730EEF6E0B3}"/>
              </a:ext>
            </a:extLst>
          </p:cNvPr>
          <p:cNvGrpSpPr/>
          <p:nvPr userDrawn="1"/>
        </p:nvGrpSpPr>
        <p:grpSpPr>
          <a:xfrm>
            <a:off x="12295891" y="1659"/>
            <a:ext cx="360000" cy="2069166"/>
            <a:chOff x="12498114" y="115959"/>
            <a:chExt cx="360000" cy="2069166"/>
          </a:xfrm>
        </p:grpSpPr>
        <p:sp>
          <p:nvSpPr>
            <p:cNvPr id="8" name="Rectangle 7">
              <a:extLst>
                <a:ext uri="{FF2B5EF4-FFF2-40B4-BE49-F238E27FC236}">
                  <a16:creationId xmlns:a16="http://schemas.microsoft.com/office/drawing/2014/main" id="{8682968D-D6CA-402B-ACC0-479332D0DA56}"/>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9" name="Rectangle 8">
              <a:extLst>
                <a:ext uri="{FF2B5EF4-FFF2-40B4-BE49-F238E27FC236}">
                  <a16:creationId xmlns:a16="http://schemas.microsoft.com/office/drawing/2014/main" id="{8D2EA203-C730-4B88-8C00-4BDCAF5156E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0" name="Rectangle 9">
              <a:extLst>
                <a:ext uri="{FF2B5EF4-FFF2-40B4-BE49-F238E27FC236}">
                  <a16:creationId xmlns:a16="http://schemas.microsoft.com/office/drawing/2014/main" id="{6598461E-D65F-45E9-9716-9B89CAB4E622}"/>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1" name="Rectangle 10">
              <a:extLst>
                <a:ext uri="{FF2B5EF4-FFF2-40B4-BE49-F238E27FC236}">
                  <a16:creationId xmlns:a16="http://schemas.microsoft.com/office/drawing/2014/main" id="{30CD4E14-DE2C-4C98-9B87-6838E72D108F}"/>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12" name="Rectangle 11">
              <a:extLst>
                <a:ext uri="{FF2B5EF4-FFF2-40B4-BE49-F238E27FC236}">
                  <a16:creationId xmlns:a16="http://schemas.microsoft.com/office/drawing/2014/main" id="{82CE3B66-8D11-4F14-A381-5C75B499CBA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48109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3"/>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rgbClr val="2B0A3D"/>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Large title &amp; large RH image 1">
    <p:bg>
      <p:bgPr>
        <a:solidFill>
          <a:srgbClr val="2B0A3D"/>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E02FC6E4-57FD-4D05-9A6A-CBF6C1870EEC}"/>
              </a:ext>
            </a:extLst>
          </p:cNvPr>
          <p:cNvSpPr>
            <a:spLocks noGrp="1"/>
          </p:cNvSpPr>
          <p:nvPr>
            <p:ph type="pic" sz="quarter" idx="13"/>
          </p:nvPr>
        </p:nvSpPr>
        <p:spPr>
          <a:xfrm>
            <a:off x="5127585" y="0"/>
            <a:ext cx="7064415" cy="6858000"/>
          </a:xfrm>
          <a:solidFill>
            <a:schemeClr val="bg2"/>
          </a:solidFill>
        </p:spPr>
        <p:txBody>
          <a:bodyPr/>
          <a:lstStyle/>
          <a:p>
            <a:r>
              <a:rPr lang="en-GB"/>
              <a:t>Click icon to add picture</a:t>
            </a:r>
          </a:p>
          <a:p>
            <a:endParaRPr lang="en-US"/>
          </a:p>
        </p:txBody>
      </p:sp>
    </p:spTree>
    <p:extLst>
      <p:ext uri="{BB962C8B-B14F-4D97-AF65-F5344CB8AC3E}">
        <p14:creationId xmlns:p14="http://schemas.microsoft.com/office/powerpoint/2010/main" val="40831864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3"/>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B0A3D"/>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B0A3D"/>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B0A3D"/>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0180557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590A73-47D6-4DDD-B975-CD3A14E484DB}"/>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2F3B4E1-43E1-4F8B-8AFC-868F6930BDBD}"/>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73887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3"/>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to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3 Full Picture">
    <p:bg>
      <p:bgPr>
        <a:solidFill>
          <a:schemeClr val="accent3"/>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AC0F4950-13FD-456D-ADC9-5DBDE733F29F}"/>
              </a:ext>
            </a:extLst>
          </p:cNvPr>
          <p:cNvSpPr>
            <a:spLocks noGrp="1"/>
          </p:cNvSpPr>
          <p:nvPr>
            <p:ph type="pic" sz="quarter" idx="10" hasCustomPrompt="1"/>
          </p:nvPr>
        </p:nvSpPr>
        <p:spPr>
          <a:xfrm>
            <a:off x="0" y="0"/>
            <a:ext cx="12192000" cy="6858000"/>
          </a:xfrm>
        </p:spPr>
        <p:txBody>
          <a:bodyPr/>
          <a:lstStyle>
            <a:lvl1pPr>
              <a:defRPr>
                <a:solidFill>
                  <a:schemeClr val="bg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de-DE"/>
              <a:t>Insert Picture and send to back</a:t>
            </a:r>
          </a:p>
          <a:p>
            <a:endParaRPr lang="en-US"/>
          </a:p>
        </p:txBody>
      </p:sp>
    </p:spTree>
    <p:extLst>
      <p:ext uri="{BB962C8B-B14F-4D97-AF65-F5344CB8AC3E}">
        <p14:creationId xmlns:p14="http://schemas.microsoft.com/office/powerpoint/2010/main" val="162409233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410785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2.xml"/><Relationship Id="rId1" Type="http://schemas.openxmlformats.org/officeDocument/2006/relationships/slideLayout" Target="../slideLayouts/slideLayout24.xml"/><Relationship Id="rId5" Type="http://schemas.openxmlformats.org/officeDocument/2006/relationships/image" Target="../media/image1.emf"/><Relationship Id="rId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5"/>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1" name="Object 2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62" r:id="rId4"/>
    <p:sldLayoutId id="2147483900" r:id="rId5"/>
    <p:sldLayoutId id="2147483901" r:id="rId6"/>
    <p:sldLayoutId id="2147483960" r:id="rId7"/>
    <p:sldLayoutId id="2147483902" r:id="rId8"/>
    <p:sldLayoutId id="2147483903" r:id="rId9"/>
    <p:sldLayoutId id="2147483949" r:id="rId10"/>
    <p:sldLayoutId id="2147483905" r:id="rId11"/>
    <p:sldLayoutId id="2147483945" r:id="rId12"/>
    <p:sldLayoutId id="2147483948" r:id="rId13"/>
    <p:sldLayoutId id="2147483954" r:id="rId14"/>
    <p:sldLayoutId id="2147483930" r:id="rId15"/>
    <p:sldLayoutId id="2147483963" r:id="rId16"/>
    <p:sldLayoutId id="2147483961" r:id="rId17"/>
    <p:sldLayoutId id="2147483958" r:id="rId18"/>
    <p:sldLayoutId id="2147483959" r:id="rId19"/>
    <p:sldLayoutId id="2147483918" r:id="rId20"/>
    <p:sldLayoutId id="2147483922" r:id="rId21"/>
    <p:sldLayoutId id="2147483950" r:id="rId22"/>
    <p:sldLayoutId id="2147483970" r:id="rId2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1</a:t>
            </a:r>
          </a:p>
          <a:p>
            <a:pPr algn="ctr">
              <a:lnSpc>
                <a:spcPct val="90000"/>
              </a:lnSpc>
              <a:spcAft>
                <a:spcPts val="0"/>
              </a:spcAft>
            </a:pPr>
            <a:r>
              <a:rPr lang="en-GB" sz="700"/>
              <a:t>112</a:t>
            </a:r>
          </a:p>
          <a:p>
            <a:pPr algn="ctr">
              <a:lnSpc>
                <a:spcPct val="90000"/>
              </a:lnSpc>
              <a:spcAft>
                <a:spcPts val="0"/>
              </a:spcAft>
            </a:pPr>
            <a:r>
              <a:rPr lang="en-GB" sz="70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18</a:t>
            </a:r>
          </a:p>
          <a:p>
            <a:pPr algn="ctr">
              <a:lnSpc>
                <a:spcPct val="90000"/>
              </a:lnSpc>
              <a:spcAft>
                <a:spcPts val="0"/>
              </a:spcAft>
            </a:pPr>
            <a:r>
              <a:rPr lang="en-GB" sz="700">
                <a:solidFill>
                  <a:schemeClr val="tx1"/>
                </a:solidFill>
              </a:rPr>
              <a:t>171</a:t>
            </a:r>
          </a:p>
          <a:p>
            <a:pPr algn="ctr">
              <a:lnSpc>
                <a:spcPct val="90000"/>
              </a:lnSpc>
              <a:spcAft>
                <a:spcPts val="0"/>
              </a:spcAft>
            </a:pPr>
            <a:r>
              <a:rPr lang="en-GB" sz="70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43</a:t>
            </a:r>
          </a:p>
          <a:p>
            <a:pPr algn="ctr">
              <a:lnSpc>
                <a:spcPct val="90000"/>
              </a:lnSpc>
              <a:spcAft>
                <a:spcPts val="0"/>
              </a:spcAft>
            </a:pPr>
            <a:r>
              <a:rPr lang="en-GB" sz="700"/>
              <a:t>10</a:t>
            </a:r>
          </a:p>
          <a:p>
            <a:pPr algn="ctr">
              <a:lnSpc>
                <a:spcPct val="90000"/>
              </a:lnSpc>
              <a:spcAft>
                <a:spcPts val="0"/>
              </a:spcAft>
            </a:pPr>
            <a:r>
              <a:rPr lang="en-GB" sz="70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39</a:t>
            </a:r>
          </a:p>
          <a:p>
            <a:pPr algn="ctr">
              <a:lnSpc>
                <a:spcPct val="90000"/>
              </a:lnSpc>
              <a:spcAft>
                <a:spcPts val="0"/>
              </a:spcAft>
            </a:pPr>
            <a:r>
              <a:rPr lang="en-GB" sz="700"/>
              <a:t>41</a:t>
            </a:r>
          </a:p>
          <a:p>
            <a:pPr algn="ctr">
              <a:lnSpc>
                <a:spcPct val="90000"/>
              </a:lnSpc>
              <a:spcAft>
                <a:spcPts val="0"/>
              </a:spcAft>
            </a:pPr>
            <a:r>
              <a:rPr lang="en-GB" sz="70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42</a:t>
              </a:r>
            </a:p>
            <a:p>
              <a:pPr algn="ctr">
                <a:lnSpc>
                  <a:spcPct val="90000"/>
                </a:lnSpc>
                <a:spcAft>
                  <a:spcPts val="0"/>
                </a:spcAft>
              </a:pPr>
              <a:r>
                <a:rPr lang="en-US" sz="70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56</a:t>
              </a:r>
            </a:p>
            <a:p>
              <a:pPr algn="ctr">
                <a:lnSpc>
                  <a:spcPct val="90000"/>
                </a:lnSpc>
                <a:spcAft>
                  <a:spcPts val="0"/>
                </a:spcAft>
              </a:pPr>
              <a:r>
                <a:rPr lang="en-US" sz="70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78</a:t>
              </a:r>
            </a:p>
            <a:p>
              <a:pPr algn="ctr">
                <a:lnSpc>
                  <a:spcPct val="90000"/>
                </a:lnSpc>
                <a:spcAft>
                  <a:spcPts val="0"/>
                </a:spcAft>
              </a:pPr>
              <a:r>
                <a:rPr lang="en-US" sz="70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08</a:t>
              </a:r>
            </a:p>
            <a:p>
              <a:pPr algn="ctr">
                <a:lnSpc>
                  <a:spcPct val="90000"/>
                </a:lnSpc>
                <a:spcAft>
                  <a:spcPts val="0"/>
                </a:spcAft>
              </a:pPr>
              <a:r>
                <a:rPr lang="en-US" sz="70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18</a:t>
              </a:r>
            </a:p>
            <a:p>
              <a:pPr algn="ctr">
                <a:lnSpc>
                  <a:spcPct val="90000"/>
                </a:lnSpc>
                <a:spcAft>
                  <a:spcPts val="0"/>
                </a:spcAft>
              </a:pPr>
              <a:r>
                <a:rPr lang="en-US" sz="70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rPr>
                <a:t>66</a:t>
              </a:r>
            </a:p>
            <a:p>
              <a:pPr algn="ctr">
                <a:lnSpc>
                  <a:spcPct val="90000"/>
                </a:lnSpc>
                <a:spcAft>
                  <a:spcPts val="0"/>
                </a:spcAft>
              </a:pPr>
              <a:r>
                <a:rPr lang="en-US" sz="700">
                  <a:solidFill>
                    <a:schemeClr val="bg1"/>
                  </a:solidFill>
                </a:rPr>
                <a:t>20</a:t>
              </a:r>
            </a:p>
            <a:p>
              <a:pPr algn="ctr">
                <a:lnSpc>
                  <a:spcPct val="90000"/>
                </a:lnSpc>
                <a:spcAft>
                  <a:spcPts val="0"/>
                </a:spcAft>
              </a:pPr>
              <a:r>
                <a:rPr lang="en-US" sz="70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rPr>
                <a:t>89</a:t>
              </a:r>
            </a:p>
            <a:p>
              <a:pPr algn="ctr">
                <a:lnSpc>
                  <a:spcPct val="90000"/>
                </a:lnSpc>
                <a:spcAft>
                  <a:spcPts val="0"/>
                </a:spcAft>
              </a:pPr>
              <a:r>
                <a:rPr lang="en-US" sz="700">
                  <a:solidFill>
                    <a:schemeClr val="bg1"/>
                  </a:solidFill>
                </a:rPr>
                <a:t>10</a:t>
              </a:r>
            </a:p>
            <a:p>
              <a:pPr algn="ctr">
                <a:lnSpc>
                  <a:spcPct val="90000"/>
                </a:lnSpc>
                <a:spcAft>
                  <a:spcPts val="0"/>
                </a:spcAft>
              </a:pPr>
              <a:r>
                <a:rPr lang="en-US" sz="70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rPr>
                <a:t>117</a:t>
              </a:r>
            </a:p>
            <a:p>
              <a:pPr algn="ctr">
                <a:lnSpc>
                  <a:spcPct val="90000"/>
                </a:lnSpc>
                <a:spcAft>
                  <a:spcPts val="0"/>
                </a:spcAft>
              </a:pPr>
              <a:r>
                <a:rPr lang="en-US" sz="700">
                  <a:solidFill>
                    <a:schemeClr val="bg1"/>
                  </a:solidFill>
                </a:rPr>
                <a:t>13</a:t>
              </a:r>
            </a:p>
            <a:p>
              <a:pPr algn="ctr">
                <a:lnSpc>
                  <a:spcPct val="90000"/>
                </a:lnSpc>
                <a:spcAft>
                  <a:spcPts val="0"/>
                </a:spcAft>
              </a:pPr>
              <a:r>
                <a:rPr lang="en-US" sz="70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rPr>
                <a:t>128</a:t>
              </a:r>
            </a:p>
            <a:p>
              <a:pPr algn="ctr">
                <a:lnSpc>
                  <a:spcPct val="90000"/>
                </a:lnSpc>
                <a:spcAft>
                  <a:spcPts val="0"/>
                </a:spcAft>
              </a:pPr>
              <a:r>
                <a:rPr lang="en-US" sz="700">
                  <a:solidFill>
                    <a:schemeClr val="bg1"/>
                  </a:solidFill>
                </a:rPr>
                <a:t>43</a:t>
              </a:r>
            </a:p>
            <a:p>
              <a:pPr algn="ctr">
                <a:lnSpc>
                  <a:spcPct val="90000"/>
                </a:lnSpc>
                <a:spcAft>
                  <a:spcPts val="0"/>
                </a:spcAft>
              </a:pPr>
              <a:r>
                <a:rPr lang="en-US" sz="70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rPr>
                <a:t>158</a:t>
              </a:r>
            </a:p>
            <a:p>
              <a:pPr algn="ctr">
                <a:lnSpc>
                  <a:spcPct val="90000"/>
                </a:lnSpc>
                <a:spcAft>
                  <a:spcPts val="0"/>
                </a:spcAft>
              </a:pPr>
              <a:r>
                <a:rPr lang="en-US" sz="700">
                  <a:solidFill>
                    <a:schemeClr val="bg1"/>
                  </a:solidFill>
                </a:rPr>
                <a:t>71</a:t>
              </a:r>
            </a:p>
            <a:p>
              <a:pPr algn="ctr">
                <a:lnSpc>
                  <a:spcPct val="90000"/>
                </a:lnSpc>
                <a:spcAft>
                  <a:spcPts val="0"/>
                </a:spcAft>
              </a:pPr>
              <a:r>
                <a:rPr lang="en-US" sz="70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rPr>
                <a:t>166</a:t>
              </a:r>
            </a:p>
            <a:p>
              <a:pPr algn="ctr">
                <a:lnSpc>
                  <a:spcPct val="90000"/>
                </a:lnSpc>
                <a:spcAft>
                  <a:spcPts val="0"/>
                </a:spcAft>
              </a:pPr>
              <a:r>
                <a:rPr lang="en-US" sz="700">
                  <a:solidFill>
                    <a:schemeClr val="bg1"/>
                  </a:solidFill>
                </a:rPr>
                <a:t>0</a:t>
              </a:r>
            </a:p>
            <a:p>
              <a:pPr algn="ctr">
                <a:lnSpc>
                  <a:spcPct val="90000"/>
                </a:lnSpc>
                <a:spcAft>
                  <a:spcPts val="0"/>
                </a:spcAft>
              </a:pPr>
              <a:r>
                <a:rPr lang="en-US" sz="70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rPr>
                <a:t>227</a:t>
              </a:r>
            </a:p>
            <a:p>
              <a:pPr algn="ctr">
                <a:lnSpc>
                  <a:spcPct val="90000"/>
                </a:lnSpc>
                <a:spcAft>
                  <a:spcPts val="0"/>
                </a:spcAft>
              </a:pPr>
              <a:r>
                <a:rPr lang="en-US" sz="700">
                  <a:solidFill>
                    <a:schemeClr val="bg1"/>
                  </a:solidFill>
                </a:rPr>
                <a:t>03</a:t>
              </a:r>
            </a:p>
            <a:p>
              <a:pPr algn="ctr">
                <a:lnSpc>
                  <a:spcPct val="90000"/>
                </a:lnSpc>
                <a:spcAft>
                  <a:spcPts val="0"/>
                </a:spcAft>
              </a:pPr>
              <a:r>
                <a:rPr lang="en-US" sz="70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48</a:t>
              </a:r>
            </a:p>
            <a:p>
              <a:pPr algn="ctr">
                <a:lnSpc>
                  <a:spcPct val="90000"/>
                </a:lnSpc>
                <a:spcAft>
                  <a:spcPts val="0"/>
                </a:spcAft>
              </a:pPr>
              <a:r>
                <a:rPr lang="en-US" sz="70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69</a:t>
              </a:r>
            </a:p>
            <a:p>
              <a:pPr algn="ctr">
                <a:lnSpc>
                  <a:spcPct val="90000"/>
                </a:lnSpc>
                <a:spcAft>
                  <a:spcPts val="0"/>
                </a:spcAft>
              </a:pPr>
              <a:r>
                <a:rPr lang="en-US" sz="70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87</a:t>
              </a:r>
            </a:p>
            <a:p>
              <a:pPr algn="ctr">
                <a:lnSpc>
                  <a:spcPct val="90000"/>
                </a:lnSpc>
                <a:spcAft>
                  <a:spcPts val="0"/>
                </a:spcAft>
              </a:pPr>
              <a:r>
                <a:rPr lang="en-US" sz="70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rPr>
                <a:t>129</a:t>
              </a:r>
            </a:p>
            <a:p>
              <a:pPr algn="ctr">
                <a:lnSpc>
                  <a:spcPct val="90000"/>
                </a:lnSpc>
                <a:spcAft>
                  <a:spcPts val="0"/>
                </a:spcAft>
              </a:pPr>
              <a:r>
                <a:rPr lang="en-US" sz="700">
                  <a:solidFill>
                    <a:schemeClr val="bg1"/>
                  </a:solidFill>
                </a:rPr>
                <a:t>27</a:t>
              </a:r>
            </a:p>
            <a:p>
              <a:pPr algn="ctr">
                <a:lnSpc>
                  <a:spcPct val="90000"/>
                </a:lnSpc>
                <a:spcAft>
                  <a:spcPts val="0"/>
                </a:spcAft>
              </a:pPr>
              <a:r>
                <a:rPr lang="en-US" sz="70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rPr>
                <a:t>161</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rPr>
                <a:t>186</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t>209</a:t>
              </a:r>
            </a:p>
            <a:p>
              <a:pPr algn="ctr">
                <a:lnSpc>
                  <a:spcPct val="90000"/>
                </a:lnSpc>
                <a:spcAft>
                  <a:spcPts val="0"/>
                </a:spcAft>
              </a:pPr>
              <a:r>
                <a:rPr lang="en-US" sz="700"/>
                <a:t>58</a:t>
              </a:r>
            </a:p>
            <a:p>
              <a:pPr algn="ctr">
                <a:lnSpc>
                  <a:spcPct val="90000"/>
                </a:lnSpc>
                <a:spcAft>
                  <a:spcPts val="0"/>
                </a:spcAft>
              </a:pPr>
              <a:r>
                <a:rPr lang="en-US" sz="70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t>229</a:t>
              </a:r>
            </a:p>
            <a:p>
              <a:pPr algn="ctr">
                <a:lnSpc>
                  <a:spcPct val="90000"/>
                </a:lnSpc>
                <a:spcAft>
                  <a:spcPts val="0"/>
                </a:spcAft>
              </a:pPr>
              <a:r>
                <a:rPr lang="en-US" sz="700"/>
                <a:t>87</a:t>
              </a:r>
            </a:p>
            <a:p>
              <a:pPr algn="ctr">
                <a:lnSpc>
                  <a:spcPct val="90000"/>
                </a:lnSpc>
                <a:spcAft>
                  <a:spcPts val="0"/>
                </a:spcAft>
              </a:pPr>
              <a:r>
                <a:rPr lang="en-US" sz="70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67</a:t>
              </a:r>
            </a:p>
            <a:p>
              <a:pPr algn="ctr">
                <a:lnSpc>
                  <a:spcPct val="90000"/>
                </a:lnSpc>
                <a:spcAft>
                  <a:spcPts val="0"/>
                </a:spcAft>
              </a:pPr>
              <a:r>
                <a:rPr lang="en-US" sz="700" b="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06</a:t>
              </a:r>
            </a:p>
            <a:p>
              <a:pPr algn="ctr">
                <a:lnSpc>
                  <a:spcPct val="90000"/>
                </a:lnSpc>
                <a:spcAft>
                  <a:spcPts val="0"/>
                </a:spcAft>
              </a:pPr>
              <a:r>
                <a:rPr lang="en-US" sz="700" b="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35</a:t>
              </a:r>
            </a:p>
            <a:p>
              <a:pPr algn="ctr">
                <a:lnSpc>
                  <a:spcPct val="90000"/>
                </a:lnSpc>
                <a:spcAft>
                  <a:spcPts val="0"/>
                </a:spcAft>
              </a:pPr>
              <a:r>
                <a:rPr lang="en-US" sz="700" b="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78</a:t>
              </a:r>
            </a:p>
            <a:p>
              <a:pPr algn="ctr">
                <a:lnSpc>
                  <a:spcPct val="90000"/>
                </a:lnSpc>
                <a:spcAft>
                  <a:spcPts val="0"/>
                </a:spcAft>
              </a:pPr>
              <a:r>
                <a:rPr lang="en-US" sz="700" b="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44</a:t>
              </a:r>
            </a:p>
            <a:p>
              <a:pPr algn="ctr">
                <a:lnSpc>
                  <a:spcPct val="90000"/>
                </a:lnSpc>
                <a:spcAft>
                  <a:spcPts val="0"/>
                </a:spcAft>
              </a:pPr>
              <a:r>
                <a:rPr lang="en-US" sz="700" b="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40</a:t>
              </a:r>
            </a:p>
            <a:p>
              <a:pPr algn="ctr">
                <a:lnSpc>
                  <a:spcPct val="90000"/>
                </a:lnSpc>
                <a:spcAft>
                  <a:spcPts val="0"/>
                </a:spcAft>
              </a:pPr>
              <a:r>
                <a:rPr lang="en-US" sz="700" b="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t>46</a:t>
              </a:r>
            </a:p>
            <a:p>
              <a:pPr algn="ctr">
                <a:lnSpc>
                  <a:spcPct val="90000"/>
                </a:lnSpc>
                <a:spcAft>
                  <a:spcPts val="0"/>
                </a:spcAft>
              </a:pPr>
              <a:r>
                <a:rPr lang="en-US" sz="700" b="0"/>
                <a:t>166</a:t>
              </a:r>
            </a:p>
            <a:p>
              <a:pPr algn="ctr">
                <a:lnSpc>
                  <a:spcPct val="90000"/>
                </a:lnSpc>
                <a:spcAft>
                  <a:spcPts val="0"/>
                </a:spcAft>
              </a:pPr>
              <a:r>
                <a:rPr lang="en-US" sz="700" b="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t>51</a:t>
              </a:r>
            </a:p>
            <a:p>
              <a:pPr algn="ctr">
                <a:lnSpc>
                  <a:spcPct val="90000"/>
                </a:lnSpc>
                <a:spcAft>
                  <a:spcPts val="0"/>
                </a:spcAft>
              </a:pPr>
              <a:r>
                <a:rPr lang="en-US" sz="700" b="0"/>
                <a:t>181</a:t>
              </a:r>
            </a:p>
            <a:p>
              <a:pPr algn="ctr">
                <a:lnSpc>
                  <a:spcPct val="90000"/>
                </a:lnSpc>
                <a:spcAft>
                  <a:spcPts val="0"/>
                </a:spcAft>
              </a:pPr>
              <a:r>
                <a:rPr lang="en-US" sz="700" b="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p>
            <a:p>
              <a:pPr algn="ctr">
                <a:lnSpc>
                  <a:spcPct val="90000"/>
                </a:lnSpc>
                <a:spcAft>
                  <a:spcPts val="0"/>
                </a:spcAft>
              </a:pPr>
              <a:r>
                <a:rPr lang="en-US" sz="700" b="0"/>
                <a:t>87</a:t>
              </a:r>
            </a:p>
            <a:p>
              <a:pPr algn="ctr">
                <a:lnSpc>
                  <a:spcPct val="90000"/>
                </a:lnSpc>
                <a:spcAft>
                  <a:spcPts val="0"/>
                </a:spcAft>
              </a:pPr>
              <a:r>
                <a:rPr lang="en-US" sz="700" b="0"/>
                <a:t>207</a:t>
              </a:r>
            </a:p>
            <a:p>
              <a:pPr algn="ctr">
                <a:lnSpc>
                  <a:spcPct val="90000"/>
                </a:lnSpc>
                <a:spcAft>
                  <a:spcPts val="0"/>
                </a:spcAft>
              </a:pPr>
              <a:r>
                <a:rPr lang="en-US" sz="700" b="0"/>
                <a:t>128</a:t>
              </a:r>
            </a:p>
            <a:p>
              <a:pPr algn="ctr">
                <a:lnSpc>
                  <a:spcPct val="90000"/>
                </a:lnSpc>
                <a:spcAft>
                  <a:spcPts val="0"/>
                </a:spcAft>
              </a:pPr>
              <a:endParaRPr lang="en-US" sz="700" b="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rPr>
                <a:t>33</a:t>
              </a:r>
            </a:p>
            <a:p>
              <a:pPr algn="ctr">
                <a:lnSpc>
                  <a:spcPct val="90000"/>
                </a:lnSpc>
                <a:spcAft>
                  <a:spcPts val="0"/>
                </a:spcAft>
              </a:pPr>
              <a:r>
                <a:rPr lang="en-US" sz="700" b="0">
                  <a:solidFill>
                    <a:schemeClr val="bg1"/>
                  </a:solidFill>
                </a:rPr>
                <a:t>69</a:t>
              </a:r>
            </a:p>
            <a:p>
              <a:pPr algn="ctr">
                <a:lnSpc>
                  <a:spcPct val="90000"/>
                </a:lnSpc>
                <a:spcAft>
                  <a:spcPts val="0"/>
                </a:spcAft>
              </a:pPr>
              <a:r>
                <a:rPr lang="en-US" sz="700" b="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rPr>
                <a:t>20</a:t>
              </a:r>
            </a:p>
            <a:p>
              <a:pPr algn="ctr">
                <a:lnSpc>
                  <a:spcPct val="90000"/>
                </a:lnSpc>
                <a:spcAft>
                  <a:spcPts val="0"/>
                </a:spcAft>
              </a:pPr>
              <a:r>
                <a:rPr lang="en-US" sz="700" b="0">
                  <a:solidFill>
                    <a:schemeClr val="bg1"/>
                  </a:solidFill>
                </a:rPr>
                <a:t>89</a:t>
              </a:r>
            </a:p>
            <a:p>
              <a:pPr algn="ctr">
                <a:lnSpc>
                  <a:spcPct val="90000"/>
                </a:lnSpc>
                <a:spcAft>
                  <a:spcPts val="0"/>
                </a:spcAft>
              </a:pPr>
              <a:r>
                <a:rPr lang="en-US" sz="700" b="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07</a:t>
              </a:r>
            </a:p>
            <a:p>
              <a:pPr algn="ctr">
                <a:lnSpc>
                  <a:spcPct val="90000"/>
                </a:lnSpc>
                <a:spcAft>
                  <a:spcPts val="0"/>
                </a:spcAft>
              </a:pPr>
              <a:r>
                <a:rPr lang="en-US" sz="700" b="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25</a:t>
              </a:r>
            </a:p>
            <a:p>
              <a:pPr algn="ctr">
                <a:lnSpc>
                  <a:spcPct val="90000"/>
                </a:lnSpc>
                <a:spcAft>
                  <a:spcPts val="0"/>
                </a:spcAft>
              </a:pPr>
              <a:r>
                <a:rPr lang="en-US" sz="700" b="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46</a:t>
              </a:r>
            </a:p>
            <a:p>
              <a:pPr algn="ctr">
                <a:lnSpc>
                  <a:spcPct val="90000"/>
                </a:lnSpc>
                <a:spcAft>
                  <a:spcPts val="0"/>
                </a:spcAft>
              </a:pPr>
              <a:r>
                <a:rPr lang="en-US" sz="700" b="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91</a:t>
              </a:r>
            </a:p>
            <a:p>
              <a:pPr algn="ctr">
                <a:lnSpc>
                  <a:spcPct val="90000"/>
                </a:lnSpc>
                <a:spcAft>
                  <a:spcPts val="0"/>
                </a:spcAft>
              </a:pPr>
              <a:r>
                <a:rPr lang="en-US" sz="700" b="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13</a:t>
              </a:r>
            </a:p>
            <a:p>
              <a:pPr algn="ctr">
                <a:lnSpc>
                  <a:spcPct val="90000"/>
                </a:lnSpc>
                <a:spcAft>
                  <a:spcPts val="0"/>
                </a:spcAft>
              </a:pPr>
              <a:r>
                <a:rPr lang="en-US" sz="700" b="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30</a:t>
              </a:r>
            </a:p>
            <a:p>
              <a:pPr algn="ctr">
                <a:lnSpc>
                  <a:spcPct val="90000"/>
                </a:lnSpc>
                <a:spcAft>
                  <a:spcPts val="0"/>
                </a:spcAft>
              </a:pPr>
              <a:r>
                <a:rPr lang="en-US" sz="700" b="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64" r:id="rId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RaubinsRaj" TargetMode="External"/><Relationship Id="rId7"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3.xml"/><Relationship Id="rId6" Type="http://schemas.openxmlformats.org/officeDocument/2006/relationships/image" Target="../media/image13.png"/><Relationship Id="rId5" Type="http://schemas.openxmlformats.org/officeDocument/2006/relationships/hyperlink" Target="https://www.youtube.com/watch?v=bkP4PrlMDfk&amp;t=6s&amp;ab_channel=RaubinsRaj" TargetMode="Externa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06021" y="2868928"/>
            <a:ext cx="4278726" cy="3621503"/>
          </a:xfrm>
        </p:spPr>
        <p:txBody>
          <a:bodyPr/>
          <a:lstStyle/>
          <a:p>
            <a:pPr>
              <a:lnSpc>
                <a:spcPct val="100000"/>
              </a:lnSpc>
              <a:spcAft>
                <a:spcPts val="0"/>
              </a:spcAft>
            </a:pPr>
            <a:r>
              <a:rPr lang="en-IN" b="1" dirty="0"/>
              <a:t>Cloud-Native Java App Deployment with CI/CD Automation</a:t>
            </a:r>
            <a:endParaRPr lang="en-US" altLang="en-US" b="1" dirty="0"/>
          </a:p>
          <a:p>
            <a:pPr marL="171450" indent="-171450">
              <a:lnSpc>
                <a:spcPct val="100000"/>
              </a:lnSpc>
              <a:spcAft>
                <a:spcPts val="0"/>
              </a:spcAft>
              <a:buFont typeface="Arial" panose="020B0604020202020204" pitchFamily="34" charset="0"/>
              <a:buChar char="•"/>
            </a:pPr>
            <a:r>
              <a:rPr lang="en-IN" dirty="0"/>
              <a:t>Built and deployed a Java web app using a complete DevOps toolchain.</a:t>
            </a:r>
          </a:p>
          <a:p>
            <a:pPr marL="171450" indent="-171450">
              <a:lnSpc>
                <a:spcPct val="100000"/>
              </a:lnSpc>
              <a:spcAft>
                <a:spcPts val="0"/>
              </a:spcAft>
              <a:buFont typeface="Arial" panose="020B0604020202020204" pitchFamily="34" charset="0"/>
              <a:buChar char="•"/>
            </a:pPr>
            <a:r>
              <a:rPr lang="en-IN" dirty="0"/>
              <a:t>Automated CI/CD pipeline with </a:t>
            </a:r>
            <a:r>
              <a:rPr lang="en-IN" b="1" dirty="0"/>
              <a:t>Jenkins</a:t>
            </a:r>
            <a:r>
              <a:rPr lang="en-IN" dirty="0"/>
              <a:t>, </a:t>
            </a:r>
            <a:r>
              <a:rPr lang="en-IN" b="1" dirty="0"/>
              <a:t>Maven</a:t>
            </a:r>
            <a:r>
              <a:rPr lang="en-IN" dirty="0"/>
              <a:t>, and </a:t>
            </a:r>
            <a:r>
              <a:rPr lang="en-IN" b="1" dirty="0"/>
              <a:t>GitHub</a:t>
            </a:r>
            <a:r>
              <a:rPr lang="en-IN" dirty="0"/>
              <a:t>.</a:t>
            </a:r>
          </a:p>
          <a:p>
            <a:pPr marL="171450" indent="-171450">
              <a:lnSpc>
                <a:spcPct val="100000"/>
              </a:lnSpc>
              <a:spcAft>
                <a:spcPts val="0"/>
              </a:spcAft>
              <a:buFont typeface="Arial" panose="020B0604020202020204" pitchFamily="34" charset="0"/>
              <a:buChar char="•"/>
            </a:pPr>
            <a:r>
              <a:rPr lang="en-IN" dirty="0"/>
              <a:t>Containerized app using </a:t>
            </a:r>
            <a:r>
              <a:rPr lang="en-IN" b="1" dirty="0"/>
              <a:t>Docker</a:t>
            </a:r>
            <a:r>
              <a:rPr lang="en-IN" dirty="0"/>
              <a:t> and hosted on </a:t>
            </a:r>
            <a:r>
              <a:rPr lang="en-IN" b="1" dirty="0"/>
              <a:t>Apache Tomcat</a:t>
            </a:r>
            <a:r>
              <a:rPr lang="en-IN" dirty="0"/>
              <a:t>.</a:t>
            </a:r>
          </a:p>
          <a:p>
            <a:pPr marL="171450" indent="-171450">
              <a:lnSpc>
                <a:spcPct val="100000"/>
              </a:lnSpc>
              <a:spcAft>
                <a:spcPts val="0"/>
              </a:spcAft>
              <a:buFont typeface="Arial" panose="020B0604020202020204" pitchFamily="34" charset="0"/>
              <a:buChar char="•"/>
            </a:pPr>
            <a:r>
              <a:rPr lang="en-IN" dirty="0"/>
              <a:t>Managed deployments with </a:t>
            </a:r>
            <a:r>
              <a:rPr lang="en-IN" b="1" dirty="0"/>
              <a:t>Kubernetes</a:t>
            </a:r>
            <a:r>
              <a:rPr lang="en-IN" dirty="0"/>
              <a:t> on </a:t>
            </a:r>
            <a:r>
              <a:rPr lang="en-IN" b="1" dirty="0"/>
              <a:t>AWS</a:t>
            </a:r>
            <a:r>
              <a:rPr lang="en-IN" dirty="0"/>
              <a:t>.</a:t>
            </a:r>
          </a:p>
          <a:p>
            <a:pPr marL="171450" indent="-171450">
              <a:lnSpc>
                <a:spcPct val="100000"/>
              </a:lnSpc>
              <a:spcAft>
                <a:spcPts val="0"/>
              </a:spcAft>
              <a:buFont typeface="Arial" panose="020B0604020202020204" pitchFamily="34" charset="0"/>
              <a:buChar char="•"/>
            </a:pPr>
            <a:r>
              <a:rPr lang="en-IN" dirty="0"/>
              <a:t>Used </a:t>
            </a:r>
            <a:r>
              <a:rPr lang="en-IN" b="1" dirty="0"/>
              <a:t>Ansible</a:t>
            </a:r>
            <a:r>
              <a:rPr lang="en-IN" dirty="0"/>
              <a:t> for configuration and environment setup.</a:t>
            </a:r>
          </a:p>
          <a:p>
            <a:pPr marL="171450" indent="-171450">
              <a:lnSpc>
                <a:spcPct val="100000"/>
              </a:lnSpc>
              <a:spcAft>
                <a:spcPts val="0"/>
              </a:spcAft>
              <a:buFont typeface="Arial" panose="020B0604020202020204" pitchFamily="34" charset="0"/>
              <a:buChar char="•"/>
            </a:pPr>
            <a:r>
              <a:rPr lang="en-IN" dirty="0"/>
              <a:t>Achieved full automation from code commit to production rollout.</a:t>
            </a:r>
          </a:p>
          <a:p>
            <a:pPr marL="171450" indent="-171450">
              <a:lnSpc>
                <a:spcPct val="100000"/>
              </a:lnSpc>
              <a:spcAft>
                <a:spcPts val="0"/>
              </a:spcAft>
              <a:buFont typeface="Arial" panose="020B0604020202020204" pitchFamily="34" charset="0"/>
              <a:buChar char="•"/>
            </a:pPr>
            <a:endParaRPr lang="en-IN" dirty="0"/>
          </a:p>
          <a:p>
            <a:pPr>
              <a:lnSpc>
                <a:spcPct val="100000"/>
              </a:lnSpc>
              <a:spcAft>
                <a:spcPts val="0"/>
              </a:spcAft>
            </a:pPr>
            <a:r>
              <a:rPr lang="en-US" b="1" dirty="0"/>
              <a:t>Deployed a full-stack chat application on Kubernetes using </a:t>
            </a:r>
            <a:r>
              <a:rPr lang="en-US" b="1" dirty="0" err="1"/>
              <a:t>Minikube</a:t>
            </a:r>
            <a:r>
              <a:rPr lang="en-US" dirty="0"/>
              <a:t> — containerized frontend/backend with Docker, pushed images to </a:t>
            </a:r>
            <a:r>
              <a:rPr lang="en-US" dirty="0" err="1"/>
              <a:t>DockerHub</a:t>
            </a:r>
            <a:r>
              <a:rPr lang="en-US" dirty="0"/>
              <a:t>, applied Kubernetes manifests (deployments, services, volumes, secrets), configured persistent storage for MongoDB, secured backend with secrets, and hosted locally via custom domain routing</a:t>
            </a:r>
            <a:endParaRPr lang="en-IN" dirty="0"/>
          </a:p>
          <a:p>
            <a:pPr>
              <a:lnSpc>
                <a:spcPct val="100000"/>
              </a:lnSpc>
              <a:spcAft>
                <a:spcPts val="0"/>
              </a:spcAft>
            </a:pPr>
            <a:endParaRPr lang="en-IN" dirty="0"/>
          </a:p>
          <a:p>
            <a:pPr>
              <a:lnSpc>
                <a:spcPct val="100000"/>
              </a:lnSpc>
              <a:spcAft>
                <a:spcPts val="0"/>
              </a:spcAft>
            </a:pPr>
            <a:r>
              <a:rPr lang="en-IN" b="1" dirty="0"/>
              <a:t>Student Placement Committee Member</a:t>
            </a:r>
          </a:p>
          <a:p>
            <a:pPr>
              <a:lnSpc>
                <a:spcPct val="100000"/>
              </a:lnSpc>
              <a:spcAft>
                <a:spcPts val="0"/>
              </a:spcAft>
            </a:pPr>
            <a:r>
              <a:rPr lang="en-IN" i="1" dirty="0"/>
              <a:t>Lovely Professional University (MCA Dept.)</a:t>
            </a:r>
          </a:p>
          <a:p>
            <a:pPr marL="171450" indent="-171450">
              <a:lnSpc>
                <a:spcPct val="100000"/>
              </a:lnSpc>
              <a:spcAft>
                <a:spcPts val="0"/>
              </a:spcAft>
              <a:buFont typeface="Arial" panose="020B0604020202020204" pitchFamily="34" charset="0"/>
              <a:buChar char="•"/>
            </a:pPr>
            <a:r>
              <a:rPr lang="en-US" dirty="0"/>
              <a:t>Collaborated with faculty and placement officers on recruitment planning.</a:t>
            </a:r>
          </a:p>
          <a:p>
            <a:pPr marL="171450" indent="-171450">
              <a:lnSpc>
                <a:spcPct val="100000"/>
              </a:lnSpc>
              <a:spcAft>
                <a:spcPts val="0"/>
              </a:spcAft>
              <a:buFont typeface="Arial" panose="020B0604020202020204" pitchFamily="34" charset="0"/>
              <a:buChar char="•"/>
            </a:pPr>
            <a:r>
              <a:rPr lang="en-US" dirty="0"/>
              <a:t>Coordinated with students to gather job preferences and promote upskilling.</a:t>
            </a:r>
          </a:p>
          <a:p>
            <a:pPr marL="171450" indent="-171450">
              <a:lnSpc>
                <a:spcPct val="100000"/>
              </a:lnSpc>
              <a:spcAft>
                <a:spcPts val="0"/>
              </a:spcAft>
              <a:buFont typeface="Arial" panose="020B0604020202020204" pitchFamily="34" charset="0"/>
              <a:buChar char="•"/>
            </a:pPr>
            <a:r>
              <a:rPr lang="en-US" dirty="0"/>
              <a:t>Contributed to company outreach and alumni engagement initiatives.</a:t>
            </a:r>
            <a:endParaRPr lang="en-US"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35846"/>
            <a:ext cx="2374900" cy="238954"/>
          </a:xfrm>
        </p:spPr>
        <p:txBody>
          <a:bodyPr/>
          <a:lstStyle/>
          <a:p>
            <a:pPr eaLnBrk="1" hangingPunct="1"/>
            <a:r>
              <a:rPr lang="nl-NL" altLang="nl-NL" dirty="0"/>
              <a:t>Hyderabad</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4800"/>
            <a:ext cx="2603500" cy="261937"/>
          </a:xfrm>
        </p:spPr>
        <p:txBody>
          <a:bodyPr/>
          <a:lstStyle/>
          <a:p>
            <a:pPr eaLnBrk="1" hangingPunct="1"/>
            <a:r>
              <a:rPr lang="nl-NL" altLang="nl-NL" dirty="0"/>
              <a:t>amandeep.e.amandeep@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6"/>
          </a:xfrm>
        </p:spPr>
        <p:txBody>
          <a:bodyPr/>
          <a:lstStyle/>
          <a:p>
            <a:pPr eaLnBrk="1" hangingPunct="1"/>
            <a:r>
              <a:rPr lang="nl-NL" altLang="nl-NL" dirty="0"/>
              <a:t>+91 620179919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05411" y="2849489"/>
            <a:ext cx="4361046" cy="3932645"/>
          </a:xfrm>
        </p:spPr>
        <p:txBody>
          <a:bodyPr/>
          <a:lstStyle/>
          <a:p>
            <a:pPr marL="171450" indent="-171450">
              <a:buFont typeface="Arial" panose="020B0604020202020204" pitchFamily="34" charset="0"/>
              <a:buChar char="•"/>
            </a:pPr>
            <a:r>
              <a:rPr lang="en-US" altLang="en-US" sz="1050" b="1" dirty="0"/>
              <a:t>Gained hands-on experience in key </a:t>
            </a:r>
            <a:r>
              <a:rPr lang="en-US" altLang="en-US" sz="1050" b="1" dirty="0" err="1"/>
              <a:t>Devops</a:t>
            </a:r>
            <a:r>
              <a:rPr lang="en-US" altLang="en-US" sz="1050" b="1" dirty="0"/>
              <a:t> tools and workflows</a:t>
            </a:r>
            <a:r>
              <a:rPr lang="en-US" altLang="en-US" sz="1050" dirty="0"/>
              <a:t>, working on real-time pipelines, containerization, orchestration, and cloud infrastructure setups using Jenkins, Docker, Kubernetes, Ansible, and AWS EC2</a:t>
            </a:r>
          </a:p>
          <a:p>
            <a:pPr marL="171450" indent="-171450">
              <a:buFont typeface="Arial" panose="020B0604020202020204" pitchFamily="34" charset="0"/>
              <a:buChar char="•"/>
            </a:pPr>
            <a:r>
              <a:rPr lang="en-US" sz="1050" b="1" dirty="0"/>
              <a:t>Configured and managed Jenkins pipeline </a:t>
            </a:r>
            <a:r>
              <a:rPr lang="en-US" sz="1050" dirty="0"/>
              <a:t>(freestyle &amp; declarative), integrated with GitHub using webhooks for automated CI/CD</a:t>
            </a:r>
          </a:p>
          <a:p>
            <a:pPr marL="171450" indent="-171450">
              <a:buFont typeface="Arial" panose="020B0604020202020204" pitchFamily="34" charset="0"/>
              <a:buChar char="•"/>
            </a:pPr>
            <a:r>
              <a:rPr lang="en-IN" sz="1050" b="1" dirty="0"/>
              <a:t>Built and deployed Docker containers</a:t>
            </a:r>
            <a:r>
              <a:rPr lang="en-IN" sz="1050" dirty="0"/>
              <a:t> using custom </a:t>
            </a:r>
            <a:r>
              <a:rPr lang="en-IN" sz="1050" dirty="0" err="1"/>
              <a:t>Dockerfiles</a:t>
            </a:r>
            <a:r>
              <a:rPr lang="en-IN" sz="1050" dirty="0"/>
              <a:t>, managed multi-container environments via Docker Compose, and handled volume mounting and networking</a:t>
            </a:r>
            <a:endParaRPr lang="en-US" sz="1050" dirty="0"/>
          </a:p>
          <a:p>
            <a:pPr marL="171450" indent="-171450">
              <a:buFont typeface="Arial" panose="020B0604020202020204" pitchFamily="34" charset="0"/>
              <a:buChar char="•"/>
            </a:pPr>
            <a:r>
              <a:rPr lang="en-US" altLang="en-US" sz="1050" b="1" dirty="0"/>
              <a:t>Orchestrated Kubernetes clusters</a:t>
            </a:r>
            <a:r>
              <a:rPr lang="en-US" altLang="en-US" sz="1050" dirty="0"/>
              <a:t> using </a:t>
            </a:r>
            <a:r>
              <a:rPr lang="en-US" altLang="en-US" sz="1050" dirty="0" err="1"/>
              <a:t>Minikube</a:t>
            </a:r>
            <a:r>
              <a:rPr lang="en-US" altLang="en-US" sz="1050" dirty="0"/>
              <a:t> and </a:t>
            </a:r>
            <a:r>
              <a:rPr lang="en-US" altLang="en-US" sz="1050" dirty="0" err="1"/>
              <a:t>kubectl</a:t>
            </a:r>
            <a:r>
              <a:rPr lang="en-US" altLang="en-US" sz="1050" dirty="0"/>
              <a:t>;  authored YAML manifests for Pods, Deployments, Services, Ingress, </a:t>
            </a:r>
            <a:r>
              <a:rPr lang="en-US" altLang="en-US" sz="1050" dirty="0" err="1"/>
              <a:t>ConfigMaps</a:t>
            </a:r>
            <a:r>
              <a:rPr lang="en-US" altLang="en-US" sz="1050" dirty="0"/>
              <a:t>, and </a:t>
            </a:r>
            <a:r>
              <a:rPr lang="en-US" altLang="en-US" sz="1050" dirty="0" err="1"/>
              <a:t>PersistentVolumes</a:t>
            </a:r>
            <a:endParaRPr lang="en-US" altLang="en-US" sz="1050" dirty="0"/>
          </a:p>
          <a:p>
            <a:pPr marL="171450" indent="-171450">
              <a:buFont typeface="Arial" panose="020B0604020202020204" pitchFamily="34" charset="0"/>
              <a:buChar char="•"/>
            </a:pPr>
            <a:r>
              <a:rPr lang="en-US" altLang="en-US" sz="1050" b="1" dirty="0"/>
              <a:t>Provisioned, secured, and  managed AWS EC2 instances, </a:t>
            </a:r>
            <a:r>
              <a:rPr lang="en-US" altLang="en-US" sz="1050" dirty="0"/>
              <a:t>configured SSH access, IAM roles,  and cloud CLI for seamless DevOps operations</a:t>
            </a:r>
          </a:p>
          <a:p>
            <a:pPr marL="171450" indent="-171450">
              <a:buFont typeface="Arial" panose="020B0604020202020204" pitchFamily="34" charset="0"/>
              <a:buChar char="•"/>
            </a:pPr>
            <a:r>
              <a:rPr lang="en-US" altLang="nl-NL" sz="1050" b="1" dirty="0"/>
              <a:t>Leveraged GenAI tools like ChatGPT and GitHub Copilot </a:t>
            </a:r>
            <a:r>
              <a:rPr lang="en-US" altLang="nl-NL" sz="1050" dirty="0"/>
              <a:t>to accelerate code generation, YAML scripting, and CI/CD debugging in live environments.</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683121" y="624159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114925" y="6346366"/>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83604" y="6254687"/>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74988"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306462600"/>
              </p:ext>
            </p:extLst>
          </p:nvPr>
        </p:nvGraphicFramePr>
        <p:xfrm>
          <a:off x="9224312" y="1310722"/>
          <a:ext cx="3004758" cy="5056741"/>
        </p:xfrm>
        <a:graphic>
          <a:graphicData uri="http://schemas.openxmlformats.org/drawingml/2006/table">
            <a:tbl>
              <a:tblPr firstRow="1" bandRow="1">
                <a:tableStyleId>{0E3FDE45-AF77-4B5C-9715-49D594BDF05E}</a:tableStyleId>
              </a:tblPr>
              <a:tblGrid>
                <a:gridCol w="1042608">
                  <a:extLst>
                    <a:ext uri="{9D8B030D-6E8A-4147-A177-3AD203B41FA5}">
                      <a16:colId xmlns:a16="http://schemas.microsoft.com/office/drawing/2014/main" val="3331298770"/>
                    </a:ext>
                  </a:extLst>
                </a:gridCol>
                <a:gridCol w="1962150">
                  <a:extLst>
                    <a:ext uri="{9D8B030D-6E8A-4147-A177-3AD203B41FA5}">
                      <a16:colId xmlns:a16="http://schemas.microsoft.com/office/drawing/2014/main" val="879084521"/>
                    </a:ext>
                  </a:extLst>
                </a:gridCol>
              </a:tblGrid>
              <a:tr h="328531">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Programming</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Python, Java (Core, OOPs, Java 8,  Maven integration)</a:t>
                      </a:r>
                    </a:p>
                  </a:txBody>
                  <a:tcPr/>
                </a:tc>
                <a:extLst>
                  <a:ext uri="{0D108BD9-81ED-4DB2-BD59-A6C34878D82A}">
                    <a16:rowId xmlns:a16="http://schemas.microsoft.com/office/drawing/2014/main" val="3727898659"/>
                  </a:ext>
                </a:extLst>
              </a:tr>
              <a:tr h="2409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Version Contro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amp; GitHub</a:t>
                      </a:r>
                    </a:p>
                  </a:txBody>
                  <a:tcPr/>
                </a:tc>
                <a:extLst>
                  <a:ext uri="{0D108BD9-81ED-4DB2-BD59-A6C34878D82A}">
                    <a16:rowId xmlns:a16="http://schemas.microsoft.com/office/drawing/2014/main" val="3294054581"/>
                  </a:ext>
                </a:extLst>
              </a:tr>
              <a:tr h="243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hell Script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Linux CLI,  Shell Scripting </a:t>
                      </a:r>
                    </a:p>
                  </a:txBody>
                  <a:tcPr/>
                </a:tc>
                <a:extLst>
                  <a:ext uri="{0D108BD9-81ED-4DB2-BD59-A6C34878D82A}">
                    <a16:rowId xmlns:a16="http://schemas.microsoft.com/office/drawing/2014/main" val="3229840877"/>
                  </a:ext>
                </a:extLst>
              </a:tr>
              <a:tr h="45055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Jenkins (Freestyle &amp; Declarative Pipelines, GitHub Integration, Webhooks)</a:t>
                      </a:r>
                    </a:p>
                  </a:txBody>
                  <a:tcPr/>
                </a:tc>
                <a:extLst>
                  <a:ext uri="{0D108BD9-81ED-4DB2-BD59-A6C34878D82A}">
                    <a16:rowId xmlns:a16="http://schemas.microsoft.com/office/drawing/2014/main" val="668073409"/>
                  </a:ext>
                </a:extLst>
              </a:tr>
              <a:tr h="45055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ntainerization</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ocker (Images, Containers,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Dockerfile</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Volumes, Networking, Docker Compose)</a:t>
                      </a:r>
                    </a:p>
                  </a:txBody>
                  <a:tcPr/>
                </a:tc>
                <a:extLst>
                  <a:ext uri="{0D108BD9-81ED-4DB2-BD59-A6C34878D82A}">
                    <a16:rowId xmlns:a16="http://schemas.microsoft.com/office/drawing/2014/main" val="2135133130"/>
                  </a:ext>
                </a:extLst>
              </a:tr>
              <a:tr h="69085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ntainer Orchestration</a:t>
                      </a:r>
                    </a:p>
                  </a:txBody>
                  <a:tcPr/>
                </a:tc>
                <a:tc>
                  <a:txBody>
                    <a:bodyPr/>
                    <a:lstStyle/>
                    <a:p>
                      <a:pPr marL="0" lvl="1" indent="0" algn="l" defTabSz="914400" rtl="0" eaLnBrk="1" latinLnBrk="0" hangingPunct="1">
                        <a:buFont typeface="Arial" panose="020B0604020202020204" pitchFamily="34" charset="0"/>
                        <a:buNone/>
                      </a:pPr>
                      <a:r>
                        <a:rPr kumimoji="0" lang="en-US" sz="800" b="0" i="0" u="none" strike="noStrike" kern="1200" cap="none" spc="0" normalizeH="0" baseline="0" dirty="0">
                          <a:ln>
                            <a:noFill/>
                          </a:ln>
                          <a:solidFill>
                            <a:schemeClr val="tx1"/>
                          </a:solidFill>
                          <a:effectLst/>
                          <a:uLnTx/>
                          <a:uFillTx/>
                          <a:latin typeface="+mn-lt"/>
                          <a:ea typeface="+mn-ea"/>
                          <a:cs typeface="+mn-cs"/>
                        </a:rPr>
                        <a:t>Kubernetes (Pods,  Deployments, Services, </a:t>
                      </a:r>
                      <a:r>
                        <a:rPr kumimoji="0" lang="en-US" sz="800" b="0" i="0" u="none" strike="noStrike" kern="1200" cap="none" spc="0" normalizeH="0" baseline="0" dirty="0" err="1">
                          <a:ln>
                            <a:noFill/>
                          </a:ln>
                          <a:solidFill>
                            <a:schemeClr val="tx1"/>
                          </a:solidFill>
                          <a:effectLst/>
                          <a:uLnTx/>
                          <a:uFillTx/>
                          <a:latin typeface="+mn-lt"/>
                          <a:ea typeface="+mn-ea"/>
                          <a:cs typeface="+mn-cs"/>
                        </a:rPr>
                        <a:t>ConfigMaps</a:t>
                      </a:r>
                      <a:r>
                        <a:rPr kumimoji="0" lang="en-US" sz="800" b="0" i="0" u="none" strike="noStrike" kern="1200" cap="none" spc="0" normalizeH="0" baseline="0" dirty="0">
                          <a:ln>
                            <a:noFill/>
                          </a:ln>
                          <a:solidFill>
                            <a:schemeClr val="tx1"/>
                          </a:solidFill>
                          <a:effectLst/>
                          <a:uLnTx/>
                          <a:uFillTx/>
                          <a:latin typeface="+mn-lt"/>
                          <a:ea typeface="+mn-ea"/>
                          <a:cs typeface="+mn-cs"/>
                        </a:rPr>
                        <a:t>, Secrets, Namespaces, Ingress, Persistent Volumes, YAML writings), Docker Swarm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5055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Infrastructure as Code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IaC</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t>
                      </a:r>
                    </a:p>
                  </a:txBody>
                  <a:tcPr/>
                </a:tc>
                <a:tc>
                  <a:txBody>
                    <a:bodyPr/>
                    <a:lstStyle/>
                    <a:p>
                      <a:pPr marL="0" lvl="1" indent="0" algn="l" defTabSz="914400" rtl="0" eaLnBrk="1" latinLnBrk="0" hangingPunct="1">
                        <a:buFont typeface="Arial" panose="020B0604020202020204" pitchFamily="34" charset="0"/>
                        <a:buNone/>
                      </a:pPr>
                      <a:r>
                        <a:rPr kumimoji="0" lang="en-US" sz="800" b="0" i="0" u="none" strike="noStrike" kern="1200" cap="none" spc="0" normalizeH="0" baseline="0" dirty="0">
                          <a:ln>
                            <a:noFill/>
                          </a:ln>
                          <a:solidFill>
                            <a:schemeClr val="tx1"/>
                          </a:solidFill>
                          <a:effectLst/>
                          <a:uLnTx/>
                          <a:uFillTx/>
                          <a:latin typeface="+mn-lt"/>
                          <a:ea typeface="+mn-ea"/>
                          <a:cs typeface="+mn-cs"/>
                        </a:rPr>
                        <a:t>YAML (K8s Manifests, Docker Compose), Ansible (Playbooks, Inventory, Roles, Modul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5055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loud Platforms</a:t>
                      </a:r>
                    </a:p>
                  </a:txBody>
                  <a:tcPr/>
                </a:tc>
                <a:tc>
                  <a:txBody>
                    <a:bodyPr/>
                    <a:lstStyle/>
                    <a:p>
                      <a:pPr marL="0" lvl="1" indent="0" algn="l" defTabSz="914400" rtl="0" eaLnBrk="1" latinLnBrk="0" hangingPunct="1">
                        <a:buFont typeface="Arial" panose="020B0604020202020204" pitchFamily="34" charset="0"/>
                        <a:buNone/>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WS EC2 (Ubuntu Setup, SSH, Key Pairs, Security Groups, IAM), Basic Cloud CLI usage</a:t>
                      </a:r>
                    </a:p>
                  </a:txBody>
                  <a:tcPr/>
                </a:tc>
                <a:extLst>
                  <a:ext uri="{0D108BD9-81ED-4DB2-BD59-A6C34878D82A}">
                    <a16:rowId xmlns:a16="http://schemas.microsoft.com/office/drawing/2014/main" val="3158575213"/>
                  </a:ext>
                </a:extLst>
              </a:tr>
              <a:tr h="45055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Build Tools </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aven (Build lifestyle, Dependency Management, Plugin usage)</a:t>
                      </a:r>
                    </a:p>
                  </a:txBody>
                  <a:tcPr/>
                </a:tc>
                <a:extLst>
                  <a:ext uri="{0D108BD9-81ED-4DB2-BD59-A6C34878D82A}">
                    <a16:rowId xmlns:a16="http://schemas.microsoft.com/office/drawing/2014/main" val="2298680090"/>
                  </a:ext>
                </a:extLst>
              </a:tr>
              <a:tr h="45055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enAI Tools</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hatGPT, GitHub Copilot (Prompt writing, code generation, debugging assistance)</a:t>
                      </a:r>
                    </a:p>
                  </a:txBody>
                  <a:tcPr/>
                </a:tc>
                <a:extLst>
                  <a:ext uri="{0D108BD9-81ED-4DB2-BD59-A6C34878D82A}">
                    <a16:rowId xmlns:a16="http://schemas.microsoft.com/office/drawing/2014/main" val="9512774"/>
                  </a:ext>
                </a:extLst>
              </a:tr>
              <a:tr h="45055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GitHub, Jenkins, Docker, Kubernetes, Docker Swarm, Ansible,</a:t>
                      </a:r>
                    </a:p>
                  </a:txBody>
                  <a:tcPr/>
                </a:tc>
                <a:extLst>
                  <a:ext uri="{0D108BD9-81ED-4DB2-BD59-A6C34878D82A}">
                    <a16:rowId xmlns:a16="http://schemas.microsoft.com/office/drawing/2014/main" val="645317192"/>
                  </a:ext>
                </a:extLst>
              </a:tr>
              <a:tr h="33040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Team collaboration, Fast Learner</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375592" y="513773"/>
            <a:ext cx="2606858" cy="425950"/>
          </a:xfrm>
          <a:prstGeom prst="rect">
            <a:avLst/>
          </a:prstGeom>
        </p:spPr>
        <p:txBody>
          <a:bodyPr wrap="square">
            <a:spAutoFit/>
          </a:bodyPr>
          <a:lstStyle/>
          <a:p>
            <a:pPr lvl="0">
              <a:lnSpc>
                <a:spcPct val="114000"/>
              </a:lnSpc>
              <a:defRPr/>
            </a:pPr>
            <a:r>
              <a:rPr lang="en-US" altLang="nl-NL" sz="1000" b="1" dirty="0">
                <a:solidFill>
                  <a:prstClr val="black"/>
                </a:solidFill>
                <a:latin typeface="Verdana" panose="020B0604030504040204" pitchFamily="34" charset="0"/>
              </a:rPr>
              <a:t>Master of Computer Applications</a:t>
            </a:r>
            <a:r>
              <a:rPr lang="en-US" altLang="nl-NL" sz="1000" dirty="0">
                <a:solidFill>
                  <a:prstClr val="black"/>
                </a:solidFill>
                <a:latin typeface="Verdana" panose="020B0604030504040204" pitchFamily="34" charset="0"/>
              </a:rPr>
              <a:t> </a:t>
            </a:r>
          </a:p>
          <a:p>
            <a:pPr lvl="0">
              <a:lnSpc>
                <a:spcPct val="114000"/>
              </a:lnSpc>
              <a:defRPr/>
            </a:pPr>
            <a:r>
              <a:rPr lang="en-US" altLang="nl-NL" sz="1000" dirty="0">
                <a:solidFill>
                  <a:prstClr val="black"/>
                </a:solidFill>
                <a:latin typeface="Verdana" panose="020B0604030504040204" pitchFamily="34" charset="0"/>
              </a:rPr>
              <a:t>2023 - 2025</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a:solidFill>
                  <a:srgbClr val="0070AD"/>
                </a:solidFill>
                <a:latin typeface="Verdana" panose="020B0604030504040204" pitchFamily="34" charset="0"/>
              </a:rPr>
              <a:t>Skills</a:t>
            </a:r>
            <a:endParaRPr lang="en-US" sz="1000"/>
          </a:p>
        </p:txBody>
      </p:sp>
      <p:sp>
        <p:nvSpPr>
          <p:cNvPr id="7" name="Text Placeholder 6">
            <a:extLst>
              <a:ext uri="{FF2B5EF4-FFF2-40B4-BE49-F238E27FC236}">
                <a16:creationId xmlns:a16="http://schemas.microsoft.com/office/drawing/2014/main" id="{4C2B0C30-6AAE-55CC-B2C8-EAFF573D000A}"/>
              </a:ext>
            </a:extLst>
          </p:cNvPr>
          <p:cNvSpPr>
            <a:spLocks noGrp="1"/>
          </p:cNvSpPr>
          <p:nvPr>
            <p:ph type="body" sz="quarter" idx="41"/>
          </p:nvPr>
        </p:nvSpPr>
        <p:spPr/>
        <p:txBody>
          <a:bodyPr/>
          <a:lstStyle/>
          <a:p>
            <a:r>
              <a:rPr lang="en-US" dirty="0"/>
              <a:t>AMANDEEP</a:t>
            </a:r>
            <a:endParaRPr lang="en-IN" dirty="0"/>
          </a:p>
        </p:txBody>
      </p:sp>
      <p:pic>
        <p:nvPicPr>
          <p:cNvPr id="11" name="Picture Placeholder 10" descr="A person in a suit and tie&#10;&#10;AI-generated content may be incorrect.">
            <a:extLst>
              <a:ext uri="{FF2B5EF4-FFF2-40B4-BE49-F238E27FC236}">
                <a16:creationId xmlns:a16="http://schemas.microsoft.com/office/drawing/2014/main" id="{475252CF-6E0C-7A5B-0710-EB3EFBC8A737}"/>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a:stretch>
            <a:fillRect/>
          </a:stretch>
        </p:blipFill>
        <p:spPr>
          <a:xfrm>
            <a:off x="414839" y="106476"/>
            <a:ext cx="1834386" cy="1882662"/>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tailEnd type="ova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6C335947751D34A948C2D4835D9F119" ma:contentTypeVersion="6" ma:contentTypeDescription="Create a new document." ma:contentTypeScope="" ma:versionID="6fa1e5e49f9ce0214e2b0fe1dc9919ca">
  <xsd:schema xmlns:xsd="http://www.w3.org/2001/XMLSchema" xmlns:xs="http://www.w3.org/2001/XMLSchema" xmlns:p="http://schemas.microsoft.com/office/2006/metadata/properties" xmlns:ns2="235f85ef-2c41-480e-8c53-eb492921e613" xmlns:ns3="e8e92d04-1735-4bb8-bdf6-26247388ae0d" targetNamespace="http://schemas.microsoft.com/office/2006/metadata/properties" ma:root="true" ma:fieldsID="d59680b9e697df84b0ce546c7dad91ab" ns2:_="" ns3:_="">
    <xsd:import namespace="235f85ef-2c41-480e-8c53-eb492921e613"/>
    <xsd:import namespace="e8e92d04-1735-4bb8-bdf6-26247388ae0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5f85ef-2c41-480e-8c53-eb492921e61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8e92d04-1735-4bb8-bdf6-26247388ae0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11DFE1-4A43-41F3-98F9-B19657257313}">
  <ds:schemaRefs>
    <ds:schemaRef ds:uri="235f85ef-2c41-480e-8c53-eb492921e613"/>
    <ds:schemaRef ds:uri="e8e92d04-1735-4bb8-bdf6-26247388ae0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765F6DA-EDFD-4C3F-B2EB-EDE359E124E2}">
  <ds:schemaRefs>
    <ds:schemaRef ds:uri="235f85ef-2c41-480e-8c53-eb492921e613"/>
    <ds:schemaRef ds:uri="e8e92d04-1735-4bb8-bdf6-26247388ae0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Capgemini_MasterTemplate (2) (002)</Template>
  <TotalTime>76</TotalTime>
  <Words>536</Words>
  <Application>Microsoft Office PowerPoint</Application>
  <PresentationFormat>Widescreen</PresentationFormat>
  <Paragraphs>70</Paragraphs>
  <Slides>1</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0" baseType="lpstr">
      <vt:lpstr>Ubuntu</vt:lpstr>
      <vt:lpstr>Wingdings</vt:lpstr>
      <vt:lpstr>Ubuntu Light</vt:lpstr>
      <vt:lpstr>Arial</vt:lpstr>
      <vt:lpstr>Verdana</vt:lpstr>
      <vt:lpstr>Ubuntu Medium</vt:lpstr>
      <vt:lpstr>Capgemini Master 2021</vt:lpstr>
      <vt:lpstr>Cover options_Section</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Laine Barber</dc:creator>
  <cp:lastModifiedBy>-, Amandeep</cp:lastModifiedBy>
  <cp:revision>7</cp:revision>
  <dcterms:created xsi:type="dcterms:W3CDTF">2021-06-09T07:11:37Z</dcterms:created>
  <dcterms:modified xsi:type="dcterms:W3CDTF">2025-07-31T13:03:21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6C335947751D34A948C2D4835D9F119</vt:lpwstr>
  </property>
</Properties>
</file>